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314" r:id="rId2"/>
    <p:sldId id="300" r:id="rId3"/>
    <p:sldId id="301" r:id="rId4"/>
    <p:sldId id="302" r:id="rId5"/>
    <p:sldId id="313" r:id="rId6"/>
    <p:sldId id="303" r:id="rId7"/>
    <p:sldId id="310" r:id="rId8"/>
    <p:sldId id="311" r:id="rId9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EFF"/>
    <a:srgbClr val="F7FDFF"/>
    <a:srgbClr val="E7F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2230" autoAdjust="0"/>
  </p:normalViewPr>
  <p:slideViewPr>
    <p:cSldViewPr snapToGrid="0">
      <p:cViewPr>
        <p:scale>
          <a:sx n="85" d="100"/>
          <a:sy n="85" d="100"/>
        </p:scale>
        <p:origin x="-624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4820B-06E4-436B-8BFC-956AD8AFF639}" type="datetimeFigureOut">
              <a:rPr lang="ru-RU" smtClean="0"/>
              <a:t>21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ECD34-3113-4CE8-80F7-027B1830E4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0127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AECD34-3113-4CE8-80F7-027B1830E44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189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AECD34-3113-4CE8-80F7-027B1830E44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9151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97589-81B3-48A3-8226-3514F3374294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251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97589-81B3-48A3-8226-3514F3374294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25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223838" y="808038"/>
            <a:ext cx="7185026" cy="40417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97589-81B3-48A3-8226-3514F3374294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549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97589-81B3-48A3-8226-3514F337429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16703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C97589-81B3-48A3-8226-3514F337429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5770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Header"/>
          <p:cNvGrpSpPr/>
          <p:nvPr/>
        </p:nvGrpSpPr>
        <p:grpSpPr>
          <a:xfrm>
            <a:off x="-24303" y="0"/>
            <a:ext cx="12221556" cy="1772816"/>
            <a:chOff x="1" y="0"/>
            <a:chExt cx="9129712" cy="2673496"/>
          </a:xfrm>
        </p:grpSpPr>
        <p:sp>
          <p:nvSpPr>
            <p:cNvPr id="9" name="Rectangle 8"/>
            <p:cNvSpPr/>
            <p:nvPr userDrawn="1"/>
          </p:nvSpPr>
          <p:spPr>
            <a:xfrm>
              <a:off x="1" y="0"/>
              <a:ext cx="9129712" cy="2564904"/>
            </a:xfrm>
            <a:prstGeom prst="rect">
              <a:avLst/>
            </a:prstGeom>
            <a:solidFill>
              <a:schemeClr val="accent1">
                <a:lumMod val="75000"/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14288" y="1808122"/>
              <a:ext cx="9115425" cy="86537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11" name="Footer"/>
          <p:cNvSpPr/>
          <p:nvPr/>
        </p:nvSpPr>
        <p:spPr>
          <a:xfrm>
            <a:off x="0" y="4293096"/>
            <a:ext cx="12192000" cy="256490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2" name="SubTitle Back"/>
          <p:cNvSpPr/>
          <p:nvPr userDrawn="1"/>
        </p:nvSpPr>
        <p:spPr>
          <a:xfrm>
            <a:off x="0" y="6165304"/>
            <a:ext cx="12172949" cy="20930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sz="1600" b="1">
                <a:latin typeface="+mj-lt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43339" y="1988842"/>
            <a:ext cx="11961459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>
                <a:solidFill>
                  <a:srgbClr val="1F497D"/>
                </a:solidFill>
              </a:rPr>
              <a:t>Проект Федерального закона № 704631-6 </a:t>
            </a:r>
            <a:br>
              <a:rPr lang="ru-RU" sz="2600" b="1" dirty="0">
                <a:solidFill>
                  <a:srgbClr val="1F497D"/>
                </a:solidFill>
              </a:rPr>
            </a:br>
            <a:r>
              <a:rPr lang="ru-RU" sz="2600" b="1" dirty="0">
                <a:solidFill>
                  <a:srgbClr val="1F497D"/>
                </a:solidFill>
              </a:rPr>
              <a:t>«О внесении изменений в отдельные законодательные акты Российской Федерации по вопросам антимонопольного регулирования и обеспечения продовольственной безопасности»</a:t>
            </a:r>
          </a:p>
        </p:txBody>
      </p:sp>
      <p:sp>
        <p:nvSpPr>
          <p:cNvPr id="31" name="Прямоугольник 30"/>
          <p:cNvSpPr/>
          <p:nvPr userDrawn="1">
            <p:custDataLst>
              <p:tags r:id="rId1"/>
            </p:custDataLst>
          </p:nvPr>
        </p:nvSpPr>
        <p:spPr>
          <a:xfrm>
            <a:off x="6384035" y="4437112"/>
            <a:ext cx="5734479" cy="13681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1900" dirty="0">
                <a:solidFill>
                  <a:prstClr val="white"/>
                </a:solidFill>
              </a:rPr>
              <a:t>Заместитель начальника управления Алтайского края по развитию предпринимательства и рыночной инфраструктуры</a:t>
            </a:r>
          </a:p>
          <a:p>
            <a:pPr algn="r"/>
            <a:endParaRPr lang="ru-RU" sz="600" dirty="0">
              <a:solidFill>
                <a:prstClr val="white"/>
              </a:solidFill>
            </a:endParaRPr>
          </a:p>
          <a:p>
            <a:pPr algn="r"/>
            <a:r>
              <a:rPr lang="ru-RU" sz="2000" b="1" dirty="0">
                <a:solidFill>
                  <a:prstClr val="white"/>
                </a:solidFill>
              </a:rPr>
              <a:t>Денежкина Г.М. </a:t>
            </a:r>
          </a:p>
        </p:txBody>
      </p:sp>
    </p:spTree>
    <p:extLst>
      <p:ext uri="{BB962C8B-B14F-4D97-AF65-F5344CB8AC3E}">
        <p14:creationId xmlns:p14="http://schemas.microsoft.com/office/powerpoint/2010/main" val="40265367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er BG Accent 1"/>
          <p:cNvSpPr/>
          <p:nvPr userDrawn="1"/>
        </p:nvSpPr>
        <p:spPr>
          <a:xfrm>
            <a:off x="-12701" y="0"/>
            <a:ext cx="12204700" cy="10972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4F81B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464800" cy="45259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10" name="Bar Accent 1"/>
          <p:cNvSpPr/>
          <p:nvPr userDrawn="1"/>
        </p:nvSpPr>
        <p:spPr>
          <a:xfrm rot="16200000">
            <a:off x="6019800" y="-4953000"/>
            <a:ext cx="152400" cy="12192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063552" y="193675"/>
            <a:ext cx="9144000" cy="53340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SubTitle Back"/>
          <p:cNvSpPr/>
          <p:nvPr userDrawn="1"/>
        </p:nvSpPr>
        <p:spPr>
          <a:xfrm>
            <a:off x="8784299" y="908723"/>
            <a:ext cx="3407701" cy="158079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3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D722A-490A-4620-9287-EED0D9FAA79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21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A5A948-3AEA-415D-BFC5-204C3ABF6386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2458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BG Accent 1"/>
          <p:cNvSpPr/>
          <p:nvPr/>
        </p:nvSpPr>
        <p:spPr>
          <a:xfrm>
            <a:off x="-12700" y="0"/>
            <a:ext cx="11094720" cy="109728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0" name="Body BG"/>
          <p:cNvGrpSpPr/>
          <p:nvPr/>
        </p:nvGrpSpPr>
        <p:grpSpPr>
          <a:xfrm>
            <a:off x="3" y="1066800"/>
            <a:ext cx="11234420" cy="5791200"/>
            <a:chOff x="-9526" y="1066800"/>
            <a:chExt cx="8435341" cy="5791200"/>
          </a:xfrm>
          <a:solidFill>
            <a:schemeClr val="accent1">
              <a:lumMod val="50000"/>
            </a:schemeClr>
          </a:solidFill>
        </p:grpSpPr>
        <p:sp>
          <p:nvSpPr>
            <p:cNvPr id="11" name="Rectangle 10"/>
            <p:cNvSpPr/>
            <p:nvPr userDrawn="1"/>
          </p:nvSpPr>
          <p:spPr>
            <a:xfrm>
              <a:off x="-9526" y="1066800"/>
              <a:ext cx="8321040" cy="57912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258175" y="1295400"/>
              <a:ext cx="167640" cy="55626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grpSp>
        <p:nvGrpSpPr>
          <p:cNvPr id="16" name="Side Bar"/>
          <p:cNvGrpSpPr/>
          <p:nvPr/>
        </p:nvGrpSpPr>
        <p:grpSpPr>
          <a:xfrm>
            <a:off x="11074403" y="0"/>
            <a:ext cx="1123583" cy="6858000"/>
            <a:chOff x="8305800" y="0"/>
            <a:chExt cx="842687" cy="6858000"/>
          </a:xfrm>
        </p:grpSpPr>
        <p:sp>
          <p:nvSpPr>
            <p:cNvPr id="9" name="SideBar Accent 2"/>
            <p:cNvSpPr/>
            <p:nvPr userDrawn="1"/>
          </p:nvSpPr>
          <p:spPr>
            <a:xfrm>
              <a:off x="8305800" y="0"/>
              <a:ext cx="838200" cy="1295400"/>
            </a:xfrm>
            <a:prstGeom prst="rect">
              <a:avLst/>
            </a:prstGeom>
            <a:solidFill>
              <a:schemeClr val="accent2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SideBar Accent 1"/>
            <p:cNvSpPr/>
            <p:nvPr userDrawn="1"/>
          </p:nvSpPr>
          <p:spPr>
            <a:xfrm>
              <a:off x="8544983" y="1295400"/>
              <a:ext cx="603504" cy="5562600"/>
            </a:xfrm>
            <a:prstGeom prst="rect">
              <a:avLst/>
            </a:prstGeom>
            <a:solidFill>
              <a:schemeClr val="accent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4" name="SideBar Pic" descr="PPP_BUSI_TXT_Networking_2007_elements.png"/>
            <p:cNvPicPr>
              <a:picLocks noChangeAspect="1"/>
            </p:cNvPicPr>
            <p:nvPr userDrawn="1"/>
          </p:nvPicPr>
          <p:blipFill>
            <a:blip r:embed="rId5" cstate="print"/>
            <a:stretch>
              <a:fillRect/>
            </a:stretch>
          </p:blipFill>
          <p:spPr>
            <a:xfrm>
              <a:off x="8458200" y="0"/>
              <a:ext cx="685800" cy="6858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" name="Bar Accent 1"/>
            <p:cNvSpPr/>
            <p:nvPr userDrawn="1"/>
          </p:nvSpPr>
          <p:spPr>
            <a:xfrm>
              <a:off x="8421158" y="1295400"/>
              <a:ext cx="118872" cy="55626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Bar Accent 2"/>
            <p:cNvSpPr/>
            <p:nvPr userDrawn="1"/>
          </p:nvSpPr>
          <p:spPr>
            <a:xfrm>
              <a:off x="8429625" y="0"/>
              <a:ext cx="114300" cy="1295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10464800" cy="1066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566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723B91-CE10-4F20-890A-0852E2246859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044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b="1" kern="1200" cap="none" spc="0">
          <a:ln w="12700">
            <a:solidFill>
              <a:schemeClr val="tx2">
                <a:satMod val="155000"/>
              </a:schemeClr>
            </a:solidFill>
            <a:prstDash val="solid"/>
          </a:ln>
          <a:solidFill>
            <a:schemeClr val="bg1"/>
          </a:solidFill>
          <a:effectLst>
            <a:outerShdw blurRad="41275" dist="20320" dir="1800000" algn="tl" rotWithShape="0">
              <a:srgbClr val="000000">
                <a:alpha val="40000"/>
              </a:srgbClr>
            </a:outerShdw>
            <a:reflection blurRad="6350" stA="55000" endA="300" endPos="45500" dir="5400000" sy="-100000" algn="bl" rotWithShape="0"/>
          </a:effectLst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j-lt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+mj-lt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+mj-lt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+mj-lt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&#1095;&#1077;&#1089;&#1090;&#1085;&#1099;&#1081;&#1079;&#1085;&#1072;&#1082;.&#1088;&#1092;/lectures/vebinary/?ELEMENT_ID=195044" TargetMode="External"/><Relationship Id="rId3" Type="http://schemas.openxmlformats.org/officeDocument/2006/relationships/hyperlink" Target="https://&#1095;&#1077;&#1089;&#1090;&#1085;&#1099;&#1081;&#1079;&#1085;&#1072;&#1082;.&#1088;&#1092;/lectures/vebinary/?ELEMENT_ID=194739" TargetMode="External"/><Relationship Id="rId7" Type="http://schemas.openxmlformats.org/officeDocument/2006/relationships/hyperlink" Target="https://&#1095;&#1077;&#1089;&#1090;&#1085;&#1099;&#1081;&#1079;&#1085;&#1072;&#1082;.&#1088;&#1092;/lectures/vebinary/?ELEMENT_ID=19564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&#1095;&#1077;&#1089;&#1090;&#1085;&#1099;&#1081;&#1079;&#1085;&#1072;&#1082;.&#1088;&#1092;/lectures/vebinary/?ELEMENT_ID=198569" TargetMode="External"/><Relationship Id="rId11" Type="http://schemas.openxmlformats.org/officeDocument/2006/relationships/hyperlink" Target="https://&#1095;&#1077;&#1089;&#1090;&#1085;&#1099;&#1081;&#1079;&#1085;&#1072;&#1082;.&#1088;&#1092;/lectures/vebinary/?ELEMENT_ID=195452" TargetMode="External"/><Relationship Id="rId5" Type="http://schemas.openxmlformats.org/officeDocument/2006/relationships/hyperlink" Target="https://&#1095;&#1077;&#1089;&#1090;&#1085;&#1099;&#1081;&#1079;&#1085;&#1072;&#1082;.&#1088;&#1092;/lectures/vebinary/?ELEMENT_ID=195444" TargetMode="External"/><Relationship Id="rId10" Type="http://schemas.openxmlformats.org/officeDocument/2006/relationships/hyperlink" Target="https://&#1095;&#1077;&#1089;&#1090;&#1085;&#1099;&#1081;&#1079;&#1085;&#1072;&#1082;.&#1088;&#1092;/lectures/vebinary/?ELEMENT_ID=195649" TargetMode="External"/><Relationship Id="rId4" Type="http://schemas.openxmlformats.org/officeDocument/2006/relationships/hyperlink" Target="https://&#1095;&#1077;&#1089;&#1090;&#1085;&#1099;&#1081;&#1079;&#1085;&#1072;&#1082;.&#1088;&#1092;/lectures/vebinary/?ELEMENT_ID=195432" TargetMode="External"/><Relationship Id="rId9" Type="http://schemas.openxmlformats.org/officeDocument/2006/relationships/hyperlink" Target="https://&#1095;&#1077;&#1089;&#1090;&#1085;&#1099;&#1081;&#1079;&#1085;&#1072;&#1082;.&#1088;&#1092;/lectures/vebinary/?ELEMENT_ID=195448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hyperlink" Target="mailto:v.volkova@crpt.ru" TargetMode="External"/><Relationship Id="rId18" Type="http://schemas.openxmlformats.org/officeDocument/2006/relationships/hyperlink" Target="mailto:a.sidorov@crpt.ru" TargetMode="External"/><Relationship Id="rId3" Type="http://schemas.openxmlformats.org/officeDocument/2006/relationships/image" Target="../media/image5.jpeg"/><Relationship Id="rId21" Type="http://schemas.openxmlformats.org/officeDocument/2006/relationships/hyperlink" Target="mailto:e.zhavoronkov@crpt.ru" TargetMode="External"/><Relationship Id="rId7" Type="http://schemas.openxmlformats.org/officeDocument/2006/relationships/image" Target="../media/image8.png"/><Relationship Id="rId12" Type="http://schemas.openxmlformats.org/officeDocument/2006/relationships/hyperlink" Target="mailto:a.krivonosov@crpt.ru" TargetMode="External"/><Relationship Id="rId17" Type="http://schemas.openxmlformats.org/officeDocument/2006/relationships/hyperlink" Target="mailto:s.parfenov@crpt.ru" TargetMode="External"/><Relationship Id="rId2" Type="http://schemas.openxmlformats.org/officeDocument/2006/relationships/notesSlide" Target="../notesSlides/notesSlide7.xml"/><Relationship Id="rId16" Type="http://schemas.openxmlformats.org/officeDocument/2006/relationships/hyperlink" Target="mailto:k.volkov@crpt.ru" TargetMode="External"/><Relationship Id="rId20" Type="http://schemas.openxmlformats.org/officeDocument/2006/relationships/hyperlink" Target="mailto:y.panferov@crpt.ru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hyperlink" Target="mailto:ya.vitrov@crpt.ru" TargetMode="External"/><Relationship Id="rId24" Type="http://schemas.openxmlformats.org/officeDocument/2006/relationships/hyperlink" Target="mailto:n.gladkov@crpt.ru" TargetMode="External"/><Relationship Id="rId5" Type="http://schemas.openxmlformats.org/officeDocument/2006/relationships/image" Target="../media/image6.png"/><Relationship Id="rId15" Type="http://schemas.openxmlformats.org/officeDocument/2006/relationships/hyperlink" Target="mailto:e.belomestnova@crpt.ru" TargetMode="External"/><Relationship Id="rId23" Type="http://schemas.openxmlformats.org/officeDocument/2006/relationships/hyperlink" Target="mailto:d.kononov@crpt.ru" TargetMode="External"/><Relationship Id="rId10" Type="http://schemas.openxmlformats.org/officeDocument/2006/relationships/image" Target="../media/image11.jpeg"/><Relationship Id="rId19" Type="http://schemas.openxmlformats.org/officeDocument/2006/relationships/hyperlink" Target="mailto:y.kuzmina@crpt.ru" TargetMode="External"/><Relationship Id="rId4" Type="http://schemas.openxmlformats.org/officeDocument/2006/relationships/hyperlink" Target="mailto:support@crpt.ru" TargetMode="External"/><Relationship Id="rId9" Type="http://schemas.openxmlformats.org/officeDocument/2006/relationships/image" Target="../media/image10.png"/><Relationship Id="rId14" Type="http://schemas.openxmlformats.org/officeDocument/2006/relationships/hyperlink" Target="https://e.mail.ru/compose/?mailto=mailto:a.dolgiev@crpt.ru" TargetMode="External"/><Relationship Id="rId22" Type="http://schemas.openxmlformats.org/officeDocument/2006/relationships/hyperlink" Target="mailto:a.kosarev@crpt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6602"/>
            <a:ext cx="12192000" cy="6705600"/>
          </a:xfrm>
          <a:prstGeom prst="rect">
            <a:avLst/>
          </a:prstGeom>
        </p:spPr>
      </p:pic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90903" y="1596674"/>
            <a:ext cx="9144000" cy="1655762"/>
          </a:xfrm>
        </p:spPr>
        <p:txBody>
          <a:bodyPr/>
          <a:lstStyle/>
          <a:p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9210" y="1506601"/>
            <a:ext cx="12872621" cy="6236033"/>
          </a:xfrm>
          <a:prstGeom prst="rect">
            <a:avLst/>
          </a:prstGeom>
          <a:solidFill>
            <a:schemeClr val="accent1">
              <a:lumMod val="40000"/>
              <a:lumOff val="60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mtClean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55094" y="2488346"/>
            <a:ext cx="888181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4472C4">
                    <a:lumMod val="50000"/>
                  </a:srgbClr>
                </a:solidFill>
              </a:rPr>
              <a:t>Презентационный материал  </a:t>
            </a:r>
            <a:endParaRPr lang="ru-RU" sz="3600" b="1" dirty="0" smtClean="0">
              <a:solidFill>
                <a:srgbClr val="4472C4">
                  <a:lumMod val="50000"/>
                </a:srgbClr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4472C4">
                    <a:lumMod val="50000"/>
                  </a:srgbClr>
                </a:solidFill>
              </a:rPr>
              <a:t>о нововведениях законодательства </a:t>
            </a:r>
          </a:p>
          <a:p>
            <a:pPr algn="ctr"/>
            <a:r>
              <a:rPr lang="ru-RU" sz="3600" b="1" dirty="0" smtClean="0">
                <a:solidFill>
                  <a:srgbClr val="4472C4">
                    <a:lumMod val="50000"/>
                  </a:srgbClr>
                </a:solidFill>
              </a:rPr>
              <a:t>по маркировке товаров средствами идентификации </a:t>
            </a:r>
            <a:endParaRPr lang="ru-RU" sz="3600" dirty="0" smtClea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52638" y="4680006"/>
            <a:ext cx="80867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 </a:t>
            </a:r>
            <a:r>
              <a:rPr lang="ru-RU" dirty="0" smtClean="0">
                <a:solidFill>
                  <a:prstClr val="black"/>
                </a:solidFill>
              </a:rPr>
              <a:t/>
            </a:r>
            <a:br>
              <a:rPr lang="ru-RU" dirty="0" smtClean="0">
                <a:solidFill>
                  <a:prstClr val="black"/>
                </a:solidFill>
              </a:rPr>
            </a:br>
            <a:r>
              <a:rPr lang="ru-RU" b="1" u="sng" dirty="0" smtClean="0">
                <a:solidFill>
                  <a:srgbClr val="4472C4">
                    <a:lumMod val="50000"/>
                  </a:srgbClr>
                </a:solidFill>
              </a:rPr>
              <a:t>по состоянию на 21 декабря 2020 года</a:t>
            </a:r>
            <a:endParaRPr lang="ru-RU" dirty="0" smtClean="0">
              <a:solidFill>
                <a:srgbClr val="4472C4">
                  <a:lumMod val="50000"/>
                </a:srgbClr>
              </a:solidFill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518790" y="1953088"/>
            <a:ext cx="0" cy="130194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518790" y="1953088"/>
            <a:ext cx="1262063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0517857" y="6514662"/>
            <a:ext cx="1262063" cy="0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11779920" y="5257800"/>
            <a:ext cx="0" cy="1247337"/>
          </a:xfrm>
          <a:prstGeom prst="lin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135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2" name="Полилиния 2071"/>
          <p:cNvSpPr/>
          <p:nvPr/>
        </p:nvSpPr>
        <p:spPr>
          <a:xfrm>
            <a:off x="1843636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2074" name="Полилиния 2073"/>
          <p:cNvSpPr/>
          <p:nvPr/>
        </p:nvSpPr>
        <p:spPr>
          <a:xfrm>
            <a:off x="3884761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2076" name="Полилиния 2075"/>
          <p:cNvSpPr/>
          <p:nvPr/>
        </p:nvSpPr>
        <p:spPr>
          <a:xfrm>
            <a:off x="5925888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5" name="AutoShape 4" descr="https://encrypted-tbn2.gstatic.com/images?q=tbn:ANd9GcR8xeG9iVFwpaMxrKYQ4Ex-D2cOmQE27tIWMLcwV3hKa6n3JEThLQ"/>
          <p:cNvSpPr>
            <a:spLocks noChangeAspect="1" noChangeArrowheads="1"/>
          </p:cNvSpPr>
          <p:nvPr/>
        </p:nvSpPr>
        <p:spPr bwMode="auto">
          <a:xfrm>
            <a:off x="2783681" y="-144462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0" y="59812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ое в </a:t>
            </a:r>
            <a:r>
              <a:rPr lang="ru-RU" sz="4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кировке. </a:t>
            </a:r>
            <a:r>
              <a:rPr lang="ru-RU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тотовар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904312" y="3429000"/>
            <a:ext cx="270030" cy="7200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45636" y="1315374"/>
            <a:ext cx="11872171" cy="715089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РФ от 07.11.2020 № 1795</a:t>
            </a:r>
            <a:endParaRPr lang="ru-R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11331" t="4646" r="13885" b="17701"/>
          <a:stretch/>
        </p:blipFill>
        <p:spPr>
          <a:xfrm>
            <a:off x="8140751" y="4237867"/>
            <a:ext cx="4050792" cy="210312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72940" y="2365504"/>
            <a:ext cx="109033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устимо осуществлять ввоз и реализацию на территории РФ </a:t>
            </a: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тов товаров и наборов товаров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без их маркировки и не вносить сведения в систему маркировки до 1 апреля 2021 г.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3771" y="4085540"/>
            <a:ext cx="82821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редство идентификации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должно  печататься на внешнем оберточном материале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тдельного </a:t>
            </a:r>
            <a:r>
              <a:rPr lang="ru-RU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ототовара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перекрываться другой информацией.</a:t>
            </a:r>
          </a:p>
          <a:p>
            <a:endPara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 формировании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боров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еобходимо наносить маркировку как на его потребительскую упаковку или этикетку, так и на упаковку фототоваров, входящих в набор.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3895344"/>
            <a:ext cx="1219154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867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2" name="Полилиния 2071"/>
          <p:cNvSpPr/>
          <p:nvPr/>
        </p:nvSpPr>
        <p:spPr>
          <a:xfrm>
            <a:off x="1843636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2074" name="Полилиния 2073"/>
          <p:cNvSpPr/>
          <p:nvPr/>
        </p:nvSpPr>
        <p:spPr>
          <a:xfrm>
            <a:off x="3884761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2076" name="Полилиния 2075"/>
          <p:cNvSpPr/>
          <p:nvPr/>
        </p:nvSpPr>
        <p:spPr>
          <a:xfrm>
            <a:off x="5925888" y="6734179"/>
            <a:ext cx="1568075" cy="259033"/>
          </a:xfrm>
          <a:custGeom>
            <a:avLst/>
            <a:gdLst>
              <a:gd name="connsiteX0" fmla="*/ 0 w 2498766"/>
              <a:gd name="connsiteY0" fmla="*/ 0 h 264476"/>
              <a:gd name="connsiteX1" fmla="*/ 2498766 w 2498766"/>
              <a:gd name="connsiteY1" fmla="*/ 0 h 264476"/>
              <a:gd name="connsiteX2" fmla="*/ 2498766 w 2498766"/>
              <a:gd name="connsiteY2" fmla="*/ 264476 h 264476"/>
              <a:gd name="connsiteX3" fmla="*/ 0 w 2498766"/>
              <a:gd name="connsiteY3" fmla="*/ 264476 h 264476"/>
              <a:gd name="connsiteX4" fmla="*/ 0 w 2498766"/>
              <a:gd name="connsiteY4" fmla="*/ 0 h 2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98766" h="264476">
                <a:moveTo>
                  <a:pt x="0" y="0"/>
                </a:moveTo>
                <a:lnTo>
                  <a:pt x="2498766" y="0"/>
                </a:lnTo>
                <a:lnTo>
                  <a:pt x="2498766" y="264476"/>
                </a:lnTo>
                <a:lnTo>
                  <a:pt x="0" y="26447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8580" tIns="0" rIns="68580" bIns="0" numCol="1" spcCol="1270" anchor="b" anchorCtr="0">
            <a:noAutofit/>
          </a:bodyPr>
          <a:lstStyle/>
          <a:p>
            <a:pPr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dirty="0"/>
          </a:p>
        </p:txBody>
      </p:sp>
      <p:sp>
        <p:nvSpPr>
          <p:cNvPr id="5" name="AutoShape 4" descr="https://encrypted-tbn2.gstatic.com/images?q=tbn:ANd9GcR8xeG9iVFwpaMxrKYQ4Ex-D2cOmQE27tIWMLcwV3hKa6n3JEThLQ"/>
          <p:cNvSpPr>
            <a:spLocks noChangeAspect="1" noChangeArrowheads="1"/>
          </p:cNvSpPr>
          <p:nvPr/>
        </p:nvSpPr>
        <p:spPr bwMode="auto">
          <a:xfrm>
            <a:off x="2783681" y="-144462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0" y="59812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ое в </a:t>
            </a:r>
            <a:r>
              <a:rPr lang="ru-RU" sz="48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кировке. Духи и парфюм</a:t>
            </a:r>
            <a:endParaRPr lang="ru-RU" sz="48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904312" y="3429000"/>
            <a:ext cx="270030" cy="72008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45636" y="1280161"/>
            <a:ext cx="11915300" cy="715089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ru-RU"/>
            </a:defPPr>
            <a:lvl1pPr>
              <a:defRPr sz="3600" b="1">
                <a:solidFill>
                  <a:schemeClr val="l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Постановление Правительства РФ от 07.11.2020 № 1795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286" y="5953722"/>
            <a:ext cx="12191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ция произведенная на территории РФ подлежит маркировке в прежние сроки согласно Правилам маркировки</a:t>
            </a:r>
            <a:endParaRPr lang="ru-RU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9427464" y="2074803"/>
            <a:ext cx="2599944" cy="1582797"/>
            <a:chOff x="11715256" y="-92325"/>
            <a:chExt cx="3211138" cy="2200085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3"/>
            <a:srcRect l="13360" r="13663"/>
            <a:stretch/>
          </p:blipFill>
          <p:spPr>
            <a:xfrm>
              <a:off x="11715256" y="-92325"/>
              <a:ext cx="3211138" cy="2200085"/>
            </a:xfrm>
            <a:prstGeom prst="rect">
              <a:avLst/>
            </a:prstGeom>
          </p:spPr>
        </p:pic>
        <p:sp>
          <p:nvSpPr>
            <p:cNvPr id="7" name="Прямоугольник 6"/>
            <p:cNvSpPr/>
            <p:nvPr/>
          </p:nvSpPr>
          <p:spPr>
            <a:xfrm>
              <a:off x="11715256" y="1442978"/>
              <a:ext cx="1965960" cy="5394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148851" y="2213740"/>
            <a:ext cx="108364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импортной продукции, произведенной и (или) ввезенной</a:t>
            </a:r>
          </a:p>
          <a:p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 территорию Российской Федерации до 01.10.2020:</a:t>
            </a:r>
            <a:endParaRPr lang="ru-RU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45636" y="3124925"/>
            <a:ext cx="1119225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статки можно маркировать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 31 октября 2021 г. 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ри условии ее регистрации в системе), вносить сведения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 1 декабря 2021 г.</a:t>
            </a:r>
          </a:p>
          <a:p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1 октября 2021 г по 31 октября 2021 г. при регистрации в системе продукции, участник вправе не вносить отдельные пункты сведений о данной продукции, установленные указанным Постановлением</a:t>
            </a:r>
          </a:p>
          <a:p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5891594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415820" y="5312664"/>
            <a:ext cx="11360360" cy="47834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613925" y="5288871"/>
            <a:ext cx="121919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ешен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воз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тов и наборов товаров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з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ркировки до 01 апреля 2021 г.</a:t>
            </a:r>
          </a:p>
          <a:p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60090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" y="-115178"/>
            <a:ext cx="121919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товаров, в отношении которых  осуществляется маркировка  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151173" y="1194318"/>
          <a:ext cx="11853183" cy="5675145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488588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6154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1057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31527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ная группа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о обязательной маркировки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рет</a:t>
                      </a:r>
                      <a:r>
                        <a:rPr lang="ru-RU" sz="2400" b="1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орота немаркированных товаров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449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бачная продукция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марта 2019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а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июля 2020 года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0186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вь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июля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а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июля 2020 года</a:t>
                      </a:r>
                      <a:endParaRPr lang="ru-RU" sz="1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506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ины и покрышки</a:t>
                      </a:r>
                    </a:p>
                    <a:p>
                      <a:pPr>
                        <a:lnSpc>
                          <a:spcPts val="1200"/>
                        </a:lnSpc>
                      </a:pP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7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ноября 2020 года</a:t>
                      </a: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5 декабря 2020 года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до 1 марта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021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маркировка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татков, введенных в оборот до 1 ноября 2020 года)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90772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отоаппараты и лампы-вспышки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я 2020 года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1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октября 2020 года </a:t>
                      </a:r>
                      <a:r>
                        <a:rPr lang="ru-RU" sz="1800" b="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до 1 декабря 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. маркировка остатков)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858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8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ы легкой промышленности (трикотажные блузки, пальто и полупальто, плащи и куртки, ветровки и штормовки, постельное, столовое, туалетное и кухонное белье)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января 2020 года</a:t>
                      </a: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января 2021 года </a:t>
                      </a:r>
                      <a:r>
                        <a:rPr lang="ru-RU" sz="1800" b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до 1 февраля 2021г. маркировка товаров, приобретенных до 1 января 2021 г., но полученных после этой даты)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50657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хи и туалетная вода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тября 2020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а</a:t>
                      </a: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октября 2021 года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до 31 октября 2021 г. для товаров,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еденных или ввезенных до 01.10.2020)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575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" y="-115178"/>
            <a:ext cx="121919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товаров, в отношении которых  осуществляется маркировка  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9731013"/>
              </p:ext>
            </p:extLst>
          </p:nvPr>
        </p:nvGraphicFramePr>
        <p:xfrm>
          <a:off x="80198" y="1314153"/>
          <a:ext cx="11853183" cy="4233091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63206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7629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562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17620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варная группа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чало обязательной маркировки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рет</a:t>
                      </a:r>
                      <a:r>
                        <a:rPr lang="ru-RU" sz="2400" b="1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орота немаркированных товаров 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568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u="sng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лочная продукция:</a:t>
                      </a:r>
                    </a:p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0" i="1" u="non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остановление</a:t>
                      </a:r>
                      <a:r>
                        <a:rPr lang="ru-RU" sz="1600" b="0" i="1" u="non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равительства РФ от 15.12.2020 № 2099</a:t>
                      </a:r>
                      <a:r>
                        <a:rPr lang="ru-RU" sz="1600" b="0" u="non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60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14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ыры, мороженое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прочие виды пищевого льда, не содержащие или содержащие какао*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июня 2021 года</a:t>
                      </a:r>
                    </a:p>
                    <a:p>
                      <a:pPr algn="ctr">
                        <a:lnSpc>
                          <a:spcPts val="1200"/>
                        </a:lnSpc>
                      </a:pP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121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лочная продукция со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оком годности более 40 дней*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сентября</a:t>
                      </a:r>
                      <a:r>
                        <a:rPr lang="ru-RU" sz="1800" b="1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1 года</a:t>
                      </a: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18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олочная продукция со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роком годности менее 40 дней*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декабря 2021 года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8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400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92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лосипеды (в том числе с установленным вспомогательным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вигателем и трехколесные) и велосипедные рам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1 сентября 2021 года</a:t>
                      </a: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800" b="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30762" y="5713420"/>
            <a:ext cx="11730476" cy="769441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marL="177800" indent="-177800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ru-RU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ды продукции по ОКПД2 и ТНВЭД ЕАЭС установлены в распоряжении Правительства Российской  Федерации от 15.12.2020 № 3322-р</a:t>
            </a:r>
            <a:endParaRPr lang="ru-RU" sz="2000" b="1" i="1" dirty="0"/>
          </a:p>
        </p:txBody>
      </p:sp>
    </p:spTree>
    <p:extLst>
      <p:ext uri="{BB962C8B-B14F-4D97-AF65-F5344CB8AC3E}">
        <p14:creationId xmlns:p14="http://schemas.microsoft.com/office/powerpoint/2010/main" val="135377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45720" y="-71483"/>
            <a:ext cx="12192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товаров, в отношении которых </a:t>
            </a:r>
            <a:r>
              <a:rPr lang="ru-RU" sz="3600" b="1" dirty="0" smtClean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одятся эксперименты по маркировке    </a:t>
            </a:r>
            <a:endParaRPr lang="ru-RU" sz="36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66296" y="3006464"/>
            <a:ext cx="51630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есла-коляски с ручным приводо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ТН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ЭД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713 10)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есла-коляски электрические (ТН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ЭД 8713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0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0361" y="1423260"/>
            <a:ext cx="594991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1 сентября 2019 </a:t>
            </a:r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. по 1 июня 2021 г.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pPr algn="ctr" fontAlgn="base"/>
            <a:r>
              <a:rPr lang="ru-RU" sz="2400" b="1" u="sng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римент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 маркировке </a:t>
            </a:r>
          </a:p>
          <a:p>
            <a:pPr algn="ctr" fontAlgn="base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есел-колясок</a:t>
            </a:r>
          </a:p>
          <a:p>
            <a:pPr algn="ctr" fontAlgn="base"/>
            <a:endParaRPr lang="ru-RU" sz="8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base"/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Постановление 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а РФ 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т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7.08.2019 №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28) </a:t>
            </a:r>
            <a:endParaRPr lang="ru-RU" sz="16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202164" y="1251980"/>
            <a:ext cx="46721" cy="560602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46721" y="3854215"/>
            <a:ext cx="6202164" cy="9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6335980" y="1449702"/>
            <a:ext cx="57296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1 апреля 2021 г. по 31 марта 2022 г. </a:t>
            </a:r>
            <a:r>
              <a:rPr lang="ru-RU" sz="2200" b="1" u="sng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римент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маркировке пивоваренной продукции и слабоалкогольных напитков согласно перечню поручений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зидента РФ В.В. Путина от 10.10.2020 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Пр-1698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0180" y="3855194"/>
            <a:ext cx="6101803" cy="18928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1 апреля 2020 г. по 1 марта 2021 г. </a:t>
            </a:r>
            <a:r>
              <a:rPr lang="ru-RU" sz="2400" b="1" u="sng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сперимент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маркировке </a:t>
            </a:r>
          </a:p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пакованной воды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Постановление Правительства РФ  от 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7.03.2020 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 </a:t>
            </a:r>
            <a:r>
              <a:rPr lang="ru-RU" sz="16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48) </a:t>
            </a:r>
            <a:endParaRPr lang="ru-RU" sz="16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51919" y="5545766"/>
            <a:ext cx="56983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ды, включая природные или искусственные минеральные, газированные, без добавления сахара и других подслащивающих или вкусо-ароматических (2201 ТН ВЭД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335980" y="3472561"/>
            <a:ext cx="5698361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8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оектом постановления Правительства РФ об эксперименте маркировке подлежит следующая продукция: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во солодовое и пивные напитки в сосудах емкостью 10 л и более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залкогольное пиво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Сидр и грушевый сидр: игристые и не игристые в сосудах до 2-х литров и более 2-х литров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чие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броженные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питк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гристые и не игристые в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судах емкостью 2 л и более 2-х литров крепостью не более 7%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/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9530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 дистанционных обучающих мероприятий 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декабрь 2020 </a:t>
            </a:r>
            <a:r>
              <a:rPr lang="ru-RU" sz="32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)   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9144" y="1093425"/>
          <a:ext cx="12182856" cy="5746287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4884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3401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9987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та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мероприятия  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43707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декабря 2020</a:t>
                      </a: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50" b="1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язательная маркировка одежды и текстиля с 1 января 2021 года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3"/>
                        </a:rPr>
                        <a:t>https://xn--80ajghhoc2aj1c8b.xn--p1ai/lectures/vebinary/?ELEMENT_ID=194739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450" b="1" kern="120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Маркировка остатков. Нарушение правил маркировки. Технические особенности.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b="0" u="non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4"/>
                        </a:rPr>
                        <a:t>https://xn--80ajghhoc2aj1c8b.xn--p1ai/lectures/vebinary/?ELEMENT_ID=195432</a:t>
                      </a:r>
                      <a:endParaRPr lang="ru-RU" sz="1450" b="0" u="none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426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декабря 2020</a:t>
                      </a:r>
                    </a:p>
                    <a:p>
                      <a:pPr algn="ctr">
                        <a:lnSpc>
                          <a:spcPts val="1200"/>
                        </a:lnSpc>
                      </a:pP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50" b="1" kern="120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Час с экспертом «Комплекты и наборы – ответы на вопросы»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https://xn--80ajghhoc2aj1c8b.xn--p1ai/lectures/vebinary/?ELEMENT_ID=195439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8035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декабря 2020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50" b="1" kern="120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450" b="1" kern="12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аркировка и декларирование импортных товаров легкой промышленности. Правила передачи сведений в Честный Знак</a:t>
                      </a:r>
                      <a:endParaRPr lang="ru-RU" sz="1450" b="1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5"/>
                        </a:rPr>
                        <a:t>https://xn--80ajghhoc2aj1c8b.xn--p1ai/lectures/vebinary/?ELEMENT_ID=195444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ru-RU" sz="1450" b="1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Преобразование кода маркировки в средства идентификации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6"/>
                        </a:rPr>
                        <a:t>https://xn--80ajghhoc2aj1c8b.xn--p1ai/lectures/vebinary/?ELEMENT_ID=198569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algn="l" defTabSz="914400" rtl="0" eaLnBrk="1" latinLnBrk="0" hangingPunct="1"/>
                      <a:r>
                        <a:rPr lang="ru-RU" sz="1450" b="1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аркировка воды: демонстрация решений 1С</a:t>
                      </a:r>
                    </a:p>
                    <a:p>
                      <a:pPr marL="0" algn="l" defTabSz="914400" rtl="0" eaLnBrk="1" latinLnBrk="0" hangingPunct="1"/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7"/>
                        </a:rPr>
                        <a:t>https://xn--80ajghhoc2aj1c8b.xn--p1ai/lectures/vebinary/?ELEMENT_ID=195645</a:t>
                      </a:r>
                      <a:endParaRPr lang="ru-RU" sz="1450" kern="120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9133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 декабря 2020</a:t>
                      </a: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50" b="1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актические решения по маркировке молочной продукции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8"/>
                        </a:rPr>
                        <a:t>https://xn--80ajghhoc2aj1c8b.xn--p1ai/lectures/vebinary/?ELEMENT_ID=195044</a:t>
                      </a:r>
                      <a:endParaRPr lang="ru-RU" sz="145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21642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декабря 2020</a:t>
                      </a: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450" b="1" i="0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Маркировка остатков. Нарушение правил маркировки. Технические особенности.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9"/>
                        </a:rPr>
                        <a:t>https://xn--80ajghhoc2aj1c8b.xn--p1ai/lectures/vebinary/?ELEMENT_ID=195448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450" b="1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собенности маркировки воды</a:t>
                      </a:r>
                    </a:p>
                    <a:p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10"/>
                        </a:rPr>
                        <a:t>https://xn--80ajghhoc2aj1c8b.xn--p1ai/lectures/vebinary/?ELEMENT_ID=195649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903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декабря 2020</a:t>
                      </a:r>
                      <a:endParaRPr lang="ru-RU" sz="15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50" b="1" i="0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егпром</a:t>
                      </a:r>
                      <a:r>
                        <a:rPr lang="ru-RU" sz="1450" b="1" i="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Маркировка остатков. Нарушение правил маркировки. Технические особенности</a:t>
                      </a:r>
                      <a:endParaRPr lang="ru-RU" sz="1450" kern="120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сылка для подключения: </a:t>
                      </a:r>
                      <a:r>
                        <a:rPr lang="en-US" sz="145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11"/>
                        </a:rPr>
                        <a:t>https://xn--80ajghhoc2aj1c8b.xn--p1ai/lectures/vebinary/?ELEMENT_ID=195</a:t>
                      </a:r>
                      <a:r>
                        <a:rPr lang="en-US" sz="1500" kern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11"/>
                        </a:rPr>
                        <a:t>452</a:t>
                      </a:r>
                      <a:endParaRPr lang="ru-RU" sz="15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883" marR="64883" marT="64883" marB="6488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1468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" y="144685"/>
            <a:ext cx="12192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ные данные ООО «Оператор-ЦРПТ»</a:t>
            </a:r>
          </a:p>
        </p:txBody>
      </p:sp>
      <p:pic>
        <p:nvPicPr>
          <p:cNvPr id="1026" name="Picture 2" descr="C:\Users\1\Pictures\logotip_n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183" y="1303451"/>
            <a:ext cx="3131395" cy="468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778024" y="1252685"/>
            <a:ext cx="22129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ая почта </a:t>
            </a:r>
            <a:endParaRPr lang="en-US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en-US" sz="1600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support@crpt.ru</a:t>
            </a:r>
            <a:endParaRPr lang="ru-RU" sz="1600" b="1" dirty="0">
              <a:solidFill>
                <a:prstClr val="black"/>
              </a:solidFill>
            </a:endParaRPr>
          </a:p>
        </p:txBody>
      </p:sp>
      <p:pic>
        <p:nvPicPr>
          <p:cNvPr id="5" name="Picture 2" descr="C:\Users\1\Desktop\b0cd46689dbb9621a47a5a43298183e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27" y="1252685"/>
            <a:ext cx="519786" cy="519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748313" y="1797723"/>
            <a:ext cx="19880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ефон                                     8 (800) </a:t>
            </a:r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2-15-23</a:t>
            </a:r>
            <a:endParaRPr lang="en-US" sz="1600" dirty="0">
              <a:solidFill>
                <a:prstClr val="black"/>
              </a:solidFill>
            </a:endParaRPr>
          </a:p>
        </p:txBody>
      </p:sp>
      <p:pic>
        <p:nvPicPr>
          <p:cNvPr id="1030" name="Picture 6" descr="https://www.clipartmax.com/png/full/71-711479_telephone-computer-icons-vektor-telepon-pn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727" y="1837460"/>
            <a:ext cx="507575" cy="507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228527" y="5306221"/>
            <a:ext cx="330672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ярные </a:t>
            </a:r>
            <a:r>
              <a:rPr lang="ru-RU" sz="16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ающие </a:t>
            </a:r>
            <a:r>
              <a:rPr lang="ru-RU" sz="1600" i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ы</a:t>
            </a:r>
            <a:r>
              <a:rPr lang="ru-RU" sz="16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на сайте </a:t>
            </a:r>
            <a:r>
              <a:rPr lang="ru-RU" sz="1600" i="1" u="sng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стныйЗНАК.рф</a:t>
            </a:r>
            <a:r>
              <a:rPr lang="ru-RU" sz="1600" i="1" u="sng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sz="1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я/расписание </a:t>
            </a:r>
            <a:r>
              <a:rPr lang="ru-RU" sz="1600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ов</a:t>
            </a: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/записи мероприятий в разделе мероприятия/видеоархив </a:t>
            </a:r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68260" y="2389733"/>
            <a:ext cx="363247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вости маркировки и ответы на часто задаваемые вопросы в социальных сетях </a:t>
            </a:r>
            <a:endParaRPr lang="ru-RU" sz="1500" b="1" dirty="0">
              <a:solidFill>
                <a:prstClr val="black"/>
              </a:solidFill>
            </a:endParaRPr>
          </a:p>
        </p:txBody>
      </p:sp>
      <p:pic>
        <p:nvPicPr>
          <p:cNvPr id="1032" name="Picture 8" descr="https://www.pinclipart.com/picdir/big/97-977185_get-in-touch-get-in-touch-clipar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64" y="2943731"/>
            <a:ext cx="440654" cy="440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79167" y="2943731"/>
            <a:ext cx="3046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facebook.com/crpt/ru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Picture 6" descr="https://static.tildacdn.com/tild3538-3230-4566-b539-353166633630/ihf36qhlrl4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5" y="3448724"/>
            <a:ext cx="496079" cy="496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624714" y="3448572"/>
            <a:ext cx="2440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vk.com/crptec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01940" y="4044437"/>
            <a:ext cx="271342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//</a:t>
            </a:r>
            <a:r>
              <a:rPr lang="en-US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t.me/crptbreaking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34" name="Picture 10" descr="https://camo.githubusercontent.com/1f2dfaa42299bc789c8ad8815b0ae168a024a5ca/68747470733a2f2f342e62702e626c6f6773706f742e636f6d2f2d49554476504175453952672f5845394d756f5f38442d492f41414141414141414864452f764447517349586834474d387164496e7839414850713938345139503442455167434b34424741595943772f73313630302f49636f6e2d54656c656772616d2e706e6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667" y="4044437"/>
            <a:ext cx="523893" cy="45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yt3.ggpht.com/a/AATXAJxgoV0l7emS3GzD-WpDU6UdTpmL5VYYhliiNQ=s900-c-k-c0xffffffff-no-rj-mo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5" y="4653788"/>
            <a:ext cx="454592" cy="454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624714" y="4382991"/>
            <a:ext cx="275896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део-инструкции и опыт участников в канале </a:t>
            </a:r>
            <a:r>
              <a:rPr 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YouTube </a:t>
            </a:r>
            <a:r>
              <a:rPr lang="ru-RU" sz="15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естныйЗНАК</a:t>
            </a:r>
            <a:r>
              <a:rPr lang="ru-RU" sz="15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293420" y="1837460"/>
            <a:ext cx="7680865" cy="4770537"/>
          </a:xfrm>
          <a:prstGeom prst="rect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РАТОРЫ: </a:t>
            </a:r>
          </a:p>
          <a:p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БАК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1"/>
              </a:rPr>
              <a:t>ya.vitrov@crpt.ru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тров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Ян  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2"/>
              </a:rPr>
              <a:t>a.krivonosov@crpt.ru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ривоносов 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лександр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ВЬ, ЛЕГПРОМ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3"/>
              </a:rPr>
              <a:t>v.volkova@crpt.ru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олков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ера  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4"/>
              </a:rPr>
              <a:t>a.dolgiev@crpt.ru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лгиев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лександр  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5"/>
              </a:rPr>
              <a:t>e.belomestnova@crpt.ru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еломестнов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катерина 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ШИНЫ и ВОДА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6"/>
              </a:rPr>
              <a:t>k.volkov@crpt.ru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лков Кирилл  </a:t>
            </a: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УХИ и ФОТ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7"/>
              </a:rPr>
              <a:t>s.parfenov@crpt.ru</a:t>
            </a:r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рфенов Сергей </a:t>
            </a:r>
          </a:p>
          <a:p>
            <a:endParaRPr lang="ru-RU" sz="1600" dirty="0">
              <a:solidFill>
                <a:prstClr val="black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133852" y="2252459"/>
            <a:ext cx="350879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ОЛОК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8"/>
              </a:rPr>
              <a:t>a.sidorov@crpt.ru</a:t>
            </a:r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доро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лексей 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19"/>
              </a:rPr>
              <a:t>y.kuzmina@crpt.ru</a:t>
            </a:r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зьмин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лия 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0"/>
              </a:rPr>
              <a:t>y.panferov@crpt.ru</a:t>
            </a:r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анферо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Яков </a:t>
            </a:r>
          </a:p>
          <a:p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АРМА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1"/>
              </a:rPr>
              <a:t>e.zhavoronkov@crpt.ru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аворонко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гор 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2"/>
              </a:rPr>
              <a:t>a.kosarev@crpt.ru</a:t>
            </a:r>
            <a:r>
              <a:rPr lang="ru-RU" sz="16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сарев Алексей </a:t>
            </a:r>
          </a:p>
          <a:p>
            <a:r>
              <a:rPr lang="ru-RU" sz="16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23"/>
              </a:rPr>
              <a:t>d.kononov@crpt.ru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онов Дмитрий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ИВО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24"/>
              </a:rPr>
              <a:t>n.gladkov@crpt.ru</a:t>
            </a:r>
            <a:r>
              <a:rPr lang="ru-RU" sz="1600" b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дков Николай </a:t>
            </a:r>
          </a:p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68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UzBihEg0aS24S89tCd.g"/>
</p:tagLst>
</file>

<file path=ppt/theme/theme1.xml><?xml version="1.0" encoding="utf-8"?>
<a:theme xmlns:a="http://schemas.openxmlformats.org/drawingml/2006/main" name="TS010241389-1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F79646"/>
      </a:accent2>
      <a:accent3>
        <a:srgbClr val="9BBB59"/>
      </a:accent3>
      <a:accent4>
        <a:srgbClr val="8064A2"/>
      </a:accent4>
      <a:accent5>
        <a:srgbClr val="4BACC6"/>
      </a:accent5>
      <a:accent6>
        <a:srgbClr val="C0504D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2</TotalTime>
  <Words>820</Words>
  <Application>Microsoft Office PowerPoint</Application>
  <PresentationFormat>Произвольный</PresentationFormat>
  <Paragraphs>161</Paragraphs>
  <Slides>8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9" baseType="lpstr">
      <vt:lpstr>TS010241389-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N</dc:creator>
  <cp:lastModifiedBy>1</cp:lastModifiedBy>
  <cp:revision>239</cp:revision>
  <cp:lastPrinted>2020-12-21T09:03:37Z</cp:lastPrinted>
  <dcterms:created xsi:type="dcterms:W3CDTF">2020-09-03T04:14:19Z</dcterms:created>
  <dcterms:modified xsi:type="dcterms:W3CDTF">2020-12-21T09:22:59Z</dcterms:modified>
</cp:coreProperties>
</file>